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29DAC4-8539-4B0F-A842-64C6BC03E22F}" v="49" dt="2023-03-14T23:56:22.8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D29DAC4-8539-4B0F-A842-64C6BC03E22F}"/>
    <pc:docChg chg="modSld">
      <pc:chgData name="Roberto Gallardo" userId="49a044883f185952" providerId="LiveId" clId="{9D29DAC4-8539-4B0F-A842-64C6BC03E22F}" dt="2023-03-14T23:56:30.860" v="176" actId="1076"/>
      <pc:docMkLst>
        <pc:docMk/>
      </pc:docMkLst>
      <pc:sldChg chg="addSp modSp mod">
        <pc:chgData name="Roberto Gallardo" userId="49a044883f185952" providerId="LiveId" clId="{9D29DAC4-8539-4B0F-A842-64C6BC03E22F}" dt="2023-03-14T23:50:39.896" v="7" actId="1076"/>
        <pc:sldMkLst>
          <pc:docMk/>
          <pc:sldMk cId="1418533539" sldId="271"/>
        </pc:sldMkLst>
        <pc:picChg chg="add mod">
          <ac:chgData name="Roberto Gallardo" userId="49a044883f185952" providerId="LiveId" clId="{9D29DAC4-8539-4B0F-A842-64C6BC03E22F}" dt="2023-03-14T23:50:39.896" v="7" actId="1076"/>
          <ac:picMkLst>
            <pc:docMk/>
            <pc:sldMk cId="1418533539" sldId="271"/>
            <ac:picMk id="6" creationId="{4AE57845-870B-5B5B-CD2E-A3551137A6A9}"/>
          </ac:picMkLst>
        </pc:picChg>
      </pc:sldChg>
      <pc:sldChg chg="addSp modSp mod">
        <pc:chgData name="Roberto Gallardo" userId="49a044883f185952" providerId="LiveId" clId="{9D29DAC4-8539-4B0F-A842-64C6BC03E22F}" dt="2023-03-14T23:52:28.543" v="59" actId="1076"/>
        <pc:sldMkLst>
          <pc:docMk/>
          <pc:sldMk cId="2124848710" sldId="281"/>
        </pc:sldMkLst>
        <pc:picChg chg="add mod">
          <ac:chgData name="Roberto Gallardo" userId="49a044883f185952" providerId="LiveId" clId="{9D29DAC4-8539-4B0F-A842-64C6BC03E22F}" dt="2023-03-14T23:52:28.543" v="59" actId="1076"/>
          <ac:picMkLst>
            <pc:docMk/>
            <pc:sldMk cId="2124848710" sldId="281"/>
            <ac:picMk id="6" creationId="{E87722F1-6F2D-F7DD-33DC-9E57D6CF4AAA}"/>
          </ac:picMkLst>
        </pc:picChg>
      </pc:sldChg>
      <pc:sldChg chg="addSp modSp mod">
        <pc:chgData name="Roberto Gallardo" userId="49a044883f185952" providerId="LiveId" clId="{9D29DAC4-8539-4B0F-A842-64C6BC03E22F}" dt="2023-03-14T23:52:46.600" v="71" actId="1076"/>
        <pc:sldMkLst>
          <pc:docMk/>
          <pc:sldMk cId="2028175529" sldId="282"/>
        </pc:sldMkLst>
        <pc:picChg chg="add mod">
          <ac:chgData name="Roberto Gallardo" userId="49a044883f185952" providerId="LiveId" clId="{9D29DAC4-8539-4B0F-A842-64C6BC03E22F}" dt="2023-03-14T23:52:46.600" v="71" actId="1076"/>
          <ac:picMkLst>
            <pc:docMk/>
            <pc:sldMk cId="2028175529" sldId="282"/>
            <ac:picMk id="7" creationId="{58F13D75-5BB5-3550-0A95-BA849B50E52C}"/>
          </ac:picMkLst>
        </pc:picChg>
      </pc:sldChg>
      <pc:sldChg chg="addSp modSp mod">
        <pc:chgData name="Roberto Gallardo" userId="49a044883f185952" providerId="LiveId" clId="{9D29DAC4-8539-4B0F-A842-64C6BC03E22F}" dt="2023-03-14T23:53:00.088" v="79" actId="1076"/>
        <pc:sldMkLst>
          <pc:docMk/>
          <pc:sldMk cId="1326517747" sldId="283"/>
        </pc:sldMkLst>
        <pc:picChg chg="add mod">
          <ac:chgData name="Roberto Gallardo" userId="49a044883f185952" providerId="LiveId" clId="{9D29DAC4-8539-4B0F-A842-64C6BC03E22F}" dt="2023-03-14T23:53:00.088" v="79" actId="1076"/>
          <ac:picMkLst>
            <pc:docMk/>
            <pc:sldMk cId="1326517747" sldId="283"/>
            <ac:picMk id="7" creationId="{C227B24B-2630-6473-2F03-C8E030D4D79A}"/>
          </ac:picMkLst>
        </pc:picChg>
      </pc:sldChg>
      <pc:sldChg chg="addSp modSp mod">
        <pc:chgData name="Roberto Gallardo" userId="49a044883f185952" providerId="LiveId" clId="{9D29DAC4-8539-4B0F-A842-64C6BC03E22F}" dt="2023-03-14T23:53:13.676" v="89" actId="1076"/>
        <pc:sldMkLst>
          <pc:docMk/>
          <pc:sldMk cId="783739251" sldId="284"/>
        </pc:sldMkLst>
        <pc:picChg chg="add mod">
          <ac:chgData name="Roberto Gallardo" userId="49a044883f185952" providerId="LiveId" clId="{9D29DAC4-8539-4B0F-A842-64C6BC03E22F}" dt="2023-03-14T23:53:13.676" v="89" actId="1076"/>
          <ac:picMkLst>
            <pc:docMk/>
            <pc:sldMk cId="783739251" sldId="284"/>
            <ac:picMk id="7" creationId="{627580F2-3163-C68B-28B3-36F8D891ECE5}"/>
          </ac:picMkLst>
        </pc:picChg>
      </pc:sldChg>
      <pc:sldChg chg="addSp modSp mod">
        <pc:chgData name="Roberto Gallardo" userId="49a044883f185952" providerId="LiveId" clId="{9D29DAC4-8539-4B0F-A842-64C6BC03E22F}" dt="2023-03-14T23:53:32.085" v="102" actId="1076"/>
        <pc:sldMkLst>
          <pc:docMk/>
          <pc:sldMk cId="1676122233" sldId="285"/>
        </pc:sldMkLst>
        <pc:picChg chg="add mod">
          <ac:chgData name="Roberto Gallardo" userId="49a044883f185952" providerId="LiveId" clId="{9D29DAC4-8539-4B0F-A842-64C6BC03E22F}" dt="2023-03-14T23:53:32.085" v="102" actId="1076"/>
          <ac:picMkLst>
            <pc:docMk/>
            <pc:sldMk cId="1676122233" sldId="285"/>
            <ac:picMk id="7" creationId="{9AB4D7AF-870A-CAE8-C138-118C34A7EBD1}"/>
          </ac:picMkLst>
        </pc:picChg>
      </pc:sldChg>
      <pc:sldChg chg="addSp modSp mod">
        <pc:chgData name="Roberto Gallardo" userId="49a044883f185952" providerId="LiveId" clId="{9D29DAC4-8539-4B0F-A842-64C6BC03E22F}" dt="2023-03-14T23:53:46.988" v="111" actId="1076"/>
        <pc:sldMkLst>
          <pc:docMk/>
          <pc:sldMk cId="3100398757" sldId="286"/>
        </pc:sldMkLst>
        <pc:picChg chg="add mod">
          <ac:chgData name="Roberto Gallardo" userId="49a044883f185952" providerId="LiveId" clId="{9D29DAC4-8539-4B0F-A842-64C6BC03E22F}" dt="2023-03-14T23:53:46.988" v="111" actId="1076"/>
          <ac:picMkLst>
            <pc:docMk/>
            <pc:sldMk cId="3100398757" sldId="286"/>
            <ac:picMk id="7" creationId="{5C554715-8809-7C22-5389-64E8666D7D65}"/>
          </ac:picMkLst>
        </pc:picChg>
      </pc:sldChg>
      <pc:sldChg chg="addSp modSp mod">
        <pc:chgData name="Roberto Gallardo" userId="49a044883f185952" providerId="LiveId" clId="{9D29DAC4-8539-4B0F-A842-64C6BC03E22F}" dt="2023-03-14T23:54:48.923" v="120" actId="1076"/>
        <pc:sldMkLst>
          <pc:docMk/>
          <pc:sldMk cId="1546475425" sldId="287"/>
        </pc:sldMkLst>
        <pc:picChg chg="add mod">
          <ac:chgData name="Roberto Gallardo" userId="49a044883f185952" providerId="LiveId" clId="{9D29DAC4-8539-4B0F-A842-64C6BC03E22F}" dt="2023-03-14T23:54:48.923" v="120" actId="1076"/>
          <ac:picMkLst>
            <pc:docMk/>
            <pc:sldMk cId="1546475425" sldId="287"/>
            <ac:picMk id="7" creationId="{B1C96734-530E-FD6A-E92B-70A69C191101}"/>
          </ac:picMkLst>
        </pc:picChg>
      </pc:sldChg>
      <pc:sldChg chg="addSp modSp mod">
        <pc:chgData name="Roberto Gallardo" userId="49a044883f185952" providerId="LiveId" clId="{9D29DAC4-8539-4B0F-A842-64C6BC03E22F}" dt="2023-03-14T23:55:26.120" v="136" actId="1076"/>
        <pc:sldMkLst>
          <pc:docMk/>
          <pc:sldMk cId="1380517306" sldId="288"/>
        </pc:sldMkLst>
        <pc:picChg chg="add mod">
          <ac:chgData name="Roberto Gallardo" userId="49a044883f185952" providerId="LiveId" clId="{9D29DAC4-8539-4B0F-A842-64C6BC03E22F}" dt="2023-03-14T23:55:26.120" v="136" actId="1076"/>
          <ac:picMkLst>
            <pc:docMk/>
            <pc:sldMk cId="1380517306" sldId="288"/>
            <ac:picMk id="7" creationId="{4D97CD1F-6874-6827-2DD7-5D5CDD51ED02}"/>
          </ac:picMkLst>
        </pc:picChg>
      </pc:sldChg>
      <pc:sldChg chg="addSp modSp mod">
        <pc:chgData name="Roberto Gallardo" userId="49a044883f185952" providerId="LiveId" clId="{9D29DAC4-8539-4B0F-A842-64C6BC03E22F}" dt="2023-03-14T23:55:39.687" v="144" actId="1076"/>
        <pc:sldMkLst>
          <pc:docMk/>
          <pc:sldMk cId="1388671151" sldId="289"/>
        </pc:sldMkLst>
        <pc:picChg chg="add mod">
          <ac:chgData name="Roberto Gallardo" userId="49a044883f185952" providerId="LiveId" clId="{9D29DAC4-8539-4B0F-A842-64C6BC03E22F}" dt="2023-03-14T23:55:39.687" v="144" actId="1076"/>
          <ac:picMkLst>
            <pc:docMk/>
            <pc:sldMk cId="1388671151" sldId="289"/>
            <ac:picMk id="7" creationId="{8304BA6C-3CD2-3D10-DF4A-4E7BD88BC3B0}"/>
          </ac:picMkLst>
        </pc:picChg>
      </pc:sldChg>
      <pc:sldChg chg="addSp modSp mod">
        <pc:chgData name="Roberto Gallardo" userId="49a044883f185952" providerId="LiveId" clId="{9D29DAC4-8539-4B0F-A842-64C6BC03E22F}" dt="2023-03-14T23:56:15.552" v="168" actId="1076"/>
        <pc:sldMkLst>
          <pc:docMk/>
          <pc:sldMk cId="2355376039" sldId="290"/>
        </pc:sldMkLst>
        <pc:picChg chg="add mod">
          <ac:chgData name="Roberto Gallardo" userId="49a044883f185952" providerId="LiveId" clId="{9D29DAC4-8539-4B0F-A842-64C6BC03E22F}" dt="2023-03-14T23:56:15.552" v="168" actId="1076"/>
          <ac:picMkLst>
            <pc:docMk/>
            <pc:sldMk cId="2355376039" sldId="290"/>
            <ac:picMk id="8" creationId="{307C5808-7AE9-054A-E609-252DB4BC6A88}"/>
          </ac:picMkLst>
        </pc:picChg>
      </pc:sldChg>
      <pc:sldChg chg="addSp modSp mod">
        <pc:chgData name="Roberto Gallardo" userId="49a044883f185952" providerId="LiveId" clId="{9D29DAC4-8539-4B0F-A842-64C6BC03E22F}" dt="2023-03-14T23:56:30.860" v="176" actId="1076"/>
        <pc:sldMkLst>
          <pc:docMk/>
          <pc:sldMk cId="3757257295" sldId="291"/>
        </pc:sldMkLst>
        <pc:picChg chg="add mod">
          <ac:chgData name="Roberto Gallardo" userId="49a044883f185952" providerId="LiveId" clId="{9D29DAC4-8539-4B0F-A842-64C6BC03E22F}" dt="2023-03-14T23:56:30.860" v="176" actId="1076"/>
          <ac:picMkLst>
            <pc:docMk/>
            <pc:sldMk cId="3757257295" sldId="291"/>
            <ac:picMk id="8" creationId="{841034F4-E439-F6E0-E59D-5A6412E789B2}"/>
          </ac:picMkLst>
        </pc:picChg>
      </pc:sldChg>
      <pc:sldChg chg="addSp modSp mod">
        <pc:chgData name="Roberto Gallardo" userId="49a044883f185952" providerId="LiveId" clId="{9D29DAC4-8539-4B0F-A842-64C6BC03E22F}" dt="2023-03-14T23:55:11.208" v="128" actId="1076"/>
        <pc:sldMkLst>
          <pc:docMk/>
          <pc:sldMk cId="1259856727" sldId="292"/>
        </pc:sldMkLst>
        <pc:picChg chg="add mod">
          <ac:chgData name="Roberto Gallardo" userId="49a044883f185952" providerId="LiveId" clId="{9D29DAC4-8539-4B0F-A842-64C6BC03E22F}" dt="2023-03-14T23:55:11.208" v="128" actId="1076"/>
          <ac:picMkLst>
            <pc:docMk/>
            <pc:sldMk cId="1259856727" sldId="292"/>
            <ac:picMk id="7" creationId="{22071475-EFDE-D91A-C79E-ADEF0A21D161}"/>
          </ac:picMkLst>
        </pc:picChg>
      </pc:sldChg>
      <pc:sldChg chg="addSp modSp mod">
        <pc:chgData name="Roberto Gallardo" userId="49a044883f185952" providerId="LiveId" clId="{9D29DAC4-8539-4B0F-A842-64C6BC03E22F}" dt="2023-03-14T23:52:09.832" v="51" actId="1076"/>
        <pc:sldMkLst>
          <pc:docMk/>
          <pc:sldMk cId="3324519687" sldId="293"/>
        </pc:sldMkLst>
        <pc:picChg chg="add mod">
          <ac:chgData name="Roberto Gallardo" userId="49a044883f185952" providerId="LiveId" clId="{9D29DAC4-8539-4B0F-A842-64C6BC03E22F}" dt="2023-03-14T23:52:09.832" v="51" actId="1076"/>
          <ac:picMkLst>
            <pc:docMk/>
            <pc:sldMk cId="3324519687" sldId="293"/>
            <ac:picMk id="7" creationId="{4FF3A1B6-C665-A5D6-CA1E-78EA82985CFB}"/>
          </ac:picMkLst>
        </pc:picChg>
      </pc:sldChg>
      <pc:sldChg chg="addSp modSp mod">
        <pc:chgData name="Roberto Gallardo" userId="49a044883f185952" providerId="LiveId" clId="{9D29DAC4-8539-4B0F-A842-64C6BC03E22F}" dt="2023-03-14T23:51:28.643" v="32" actId="1076"/>
        <pc:sldMkLst>
          <pc:docMk/>
          <pc:sldMk cId="3256182630" sldId="295"/>
        </pc:sldMkLst>
        <pc:picChg chg="add mod">
          <ac:chgData name="Roberto Gallardo" userId="49a044883f185952" providerId="LiveId" clId="{9D29DAC4-8539-4B0F-A842-64C6BC03E22F}" dt="2023-03-14T23:51:28.643" v="32" actId="1076"/>
          <ac:picMkLst>
            <pc:docMk/>
            <pc:sldMk cId="3256182630" sldId="295"/>
            <ac:picMk id="7" creationId="{C845BCE4-9E02-9342-25E5-6D472F193692}"/>
          </ac:picMkLst>
        </pc:picChg>
      </pc:sldChg>
      <pc:sldChg chg="addSp modSp mod">
        <pc:chgData name="Roberto Gallardo" userId="49a044883f185952" providerId="LiveId" clId="{9D29DAC4-8539-4B0F-A842-64C6BC03E22F}" dt="2023-03-14T23:51:53.144" v="42" actId="1076"/>
        <pc:sldMkLst>
          <pc:docMk/>
          <pc:sldMk cId="4057156843" sldId="296"/>
        </pc:sldMkLst>
        <pc:picChg chg="add mod">
          <ac:chgData name="Roberto Gallardo" userId="49a044883f185952" providerId="LiveId" clId="{9D29DAC4-8539-4B0F-A842-64C6BC03E22F}" dt="2023-03-14T23:51:53.144" v="42" actId="1076"/>
          <ac:picMkLst>
            <pc:docMk/>
            <pc:sldMk cId="4057156843" sldId="296"/>
            <ac:picMk id="7" creationId="{B6285432-EEF6-752E-F4B8-FD21E7B50A4D}"/>
          </ac:picMkLst>
        </pc:picChg>
      </pc:sldChg>
      <pc:sldChg chg="addSp modSp mod">
        <pc:chgData name="Roberto Gallardo" userId="49a044883f185952" providerId="LiveId" clId="{9D29DAC4-8539-4B0F-A842-64C6BC03E22F}" dt="2023-03-14T23:51:09.916" v="22" actId="1076"/>
        <pc:sldMkLst>
          <pc:docMk/>
          <pc:sldMk cId="2080110827" sldId="297"/>
        </pc:sldMkLst>
        <pc:picChg chg="add mod">
          <ac:chgData name="Roberto Gallardo" userId="49a044883f185952" providerId="LiveId" clId="{9D29DAC4-8539-4B0F-A842-64C6BC03E22F}" dt="2023-03-14T23:51:09.916" v="22" actId="1076"/>
          <ac:picMkLst>
            <pc:docMk/>
            <pc:sldMk cId="2080110827" sldId="297"/>
            <ac:picMk id="6" creationId="{FFE90B5B-D6A0-6636-0653-5256ACEFE00B}"/>
          </ac:picMkLst>
        </pc:picChg>
      </pc:sldChg>
      <pc:sldChg chg="addSp modSp mod">
        <pc:chgData name="Roberto Gallardo" userId="49a044883f185952" providerId="LiveId" clId="{9D29DAC4-8539-4B0F-A842-64C6BC03E22F}" dt="2023-03-14T23:50:54.731" v="15" actId="1076"/>
        <pc:sldMkLst>
          <pc:docMk/>
          <pc:sldMk cId="1532666867" sldId="298"/>
        </pc:sldMkLst>
        <pc:picChg chg="add mod">
          <ac:chgData name="Roberto Gallardo" userId="49a044883f185952" providerId="LiveId" clId="{9D29DAC4-8539-4B0F-A842-64C6BC03E22F}" dt="2023-03-14T23:50:54.731" v="15" actId="1076"/>
          <ac:picMkLst>
            <pc:docMk/>
            <pc:sldMk cId="1532666867" sldId="298"/>
            <ac:picMk id="6" creationId="{37332FAF-4E0A-323B-919D-533FCEBAF1D3}"/>
          </ac:picMkLst>
        </pc:picChg>
      </pc:sldChg>
      <pc:sldChg chg="addSp modSp mod">
        <pc:chgData name="Roberto Gallardo" userId="49a044883f185952" providerId="LiveId" clId="{9D29DAC4-8539-4B0F-A842-64C6BC03E22F}" dt="2023-03-14T23:55:59.487" v="157" actId="1076"/>
        <pc:sldMkLst>
          <pc:docMk/>
          <pc:sldMk cId="1951376777" sldId="299"/>
        </pc:sldMkLst>
        <pc:picChg chg="add mod">
          <ac:chgData name="Roberto Gallardo" userId="49a044883f185952" providerId="LiveId" clId="{9D29DAC4-8539-4B0F-A842-64C6BC03E22F}" dt="2023-03-14T23:55:59.487" v="157" actId="1076"/>
          <ac:picMkLst>
            <pc:docMk/>
            <pc:sldMk cId="1951376777" sldId="299"/>
            <ac:picMk id="7" creationId="{FB3CE3F7-9468-4CBE-2847-A40D0AFA6FE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85652"/>
          </a:xfrm>
          <a:prstGeom prst="rect">
            <a:avLst/>
          </a:prstGeom>
          <a:noFill/>
        </p:spPr>
        <p:txBody>
          <a:bodyPr wrap="square" rtlCol="0">
            <a:spAutoFit/>
          </a:bodyPr>
          <a:lstStyle/>
          <a:p>
            <a:r>
              <a:rPr lang="en-US" sz="4000" dirty="0">
                <a:solidFill>
                  <a:schemeClr val="bg1"/>
                </a:solidFill>
              </a:rPr>
              <a:t>Rockingham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368134F-DDD7-9EEE-6F49-138B73FCAFAA}"/>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E24EFDD6-438C-FDEC-3C3A-7F4CA2FF56AC}"/>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AE57845-870B-5B5B-CD2E-A3551137A6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7332FAF-4E0A-323B-919D-533FCEBAF1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FE90B5B-D6A0-6636-0653-5256ACEFE0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8877A3A-EB3A-860B-4397-56B279D0391E}"/>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C845BCE4-9E02-9342-25E5-6D472F1936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C6195F6-D5B1-1601-5883-597AA07FE833}"/>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B6285432-EEF6-752E-F4B8-FD21E7B50A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6097"/>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89E681F-5B0B-DDCC-6C18-55AF4A176BBB}"/>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4FF3A1B6-C665-A5D6-CA1E-78EA82985C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61013F4-2094-CED3-6D18-A22F14F4582B}"/>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E87722F1-6F2D-F7DD-33DC-9E57D6CF4A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5E4C764-F02C-1FB4-E7DF-8ACB70E952A6}"/>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58F13D75-5BB5-3550-0A95-BA849B50E5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BCB703B-E346-0E8C-5C2F-97CA4ACB69F6}"/>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227B24B-2630-6473-2F03-C8E030D4D7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3CEB3EF-DA8B-7CD6-69E3-CCA080782172}"/>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627580F2-3163-C68B-28B3-36F8D891EC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4ED28BD-5EF2-123F-9EAB-7B6708035E1B}"/>
              </a:ext>
            </a:extLst>
          </p:cNvPr>
          <p:cNvPicPr/>
          <p:nvPr/>
        </p:nvPicPr>
        <p:blipFill>
          <a:blip r:embed="rId2"/>
          <a:stretch>
            <a:fillRect/>
          </a:stretch>
        </p:blipFill>
        <p:spPr>
          <a:xfrm>
            <a:off x="159053" y="1774372"/>
            <a:ext cx="5289247" cy="3790406"/>
          </a:xfrm>
          <a:prstGeom prst="rect">
            <a:avLst/>
          </a:prstGeom>
        </p:spPr>
      </p:pic>
      <p:pic>
        <p:nvPicPr>
          <p:cNvPr id="7" name="Picture 6" descr="Diagram, map&#10;&#10;Description automatically generated">
            <a:extLst>
              <a:ext uri="{FF2B5EF4-FFF2-40B4-BE49-F238E27FC236}">
                <a16:creationId xmlns:a16="http://schemas.microsoft.com/office/drawing/2014/main" id="{9AB4D7AF-870A-CAE8-C138-118C34A7EB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2" y="1408741"/>
            <a:ext cx="6394148"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365C424-2F10-350A-FC17-4753E4F3D73A}"/>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5C554715-8809-7C22-5389-64E8666D7D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935"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15C4EDA-40CB-D733-B0BE-FF7B62DD3E06}"/>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B1C96734-530E-FD6A-E92B-70A69C1911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D073FB1-E2D5-4815-6297-D4C33FB59715}"/>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22071475-EFDE-D91A-C79E-ADEF0A21D1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357BAF5-A393-55FC-FE21-0F4678C208FA}"/>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4D97CD1F-6874-6827-2DD7-5D5CDD51ED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A61D4AD-738A-0864-EEB9-E6E950C131D2}"/>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8304BA6C-3CD2-3D10-DF4A-4E7BD88BC3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AB766D74-2CF9-604A-65B9-AC713C7E75BF}"/>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FB3CE3F7-9468-4CBE-2847-A40D0AFA6F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442"/>
            <a:ext cx="6407077" cy="45308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CBE49B0-A528-D2C5-BE25-842BBCDB537A}"/>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307C5808-7AE9-054A-E609-252DB4BC6A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544C1BC4-733F-E4F0-B3D7-098653FA18C3}"/>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00A6E0E6-A45A-7E2A-BB08-D5A7147FDA47}"/>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841034F4-E439-F6E0-E59D-5A6412E789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CCBC828-0D3D-3EF8-054F-DC56F0127CE2}"/>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38D219-5911-91DB-52A1-3E95A1029932}"/>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70A13E-A504-DF7B-A3C0-15F03A3A8D82}"/>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589689"/>
            <a:ext cx="1198148" cy="2328818"/>
            <a:chOff x="10485745" y="2561493"/>
            <a:chExt cx="1198148" cy="232881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4946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6149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61493"/>
              <a:ext cx="0" cy="78797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42019"/>
              <a:ext cx="0" cy="6482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48E240A6-4390-C38D-75D6-EBB62254CC37}"/>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3EDD99B0-D989-706E-6BF9-C6FF74FFB44F}"/>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E4A6772-FC19-FC09-DDD6-DC640472AC84}"/>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CE4A44F-8584-90C0-617F-0E5D06BC4DB6}"/>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138FD78-557A-58EC-ECA1-82C03831564E}"/>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E7AD0B0-4318-C6E3-AEC2-8203AE75CB08}"/>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E242696-195A-BC40-4AFF-44BE580B9367}"/>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0854B38-73A8-02C2-97AB-90E08892E3DC}"/>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1</TotalTime>
  <Words>1463</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4</cp:revision>
  <dcterms:created xsi:type="dcterms:W3CDTF">2022-07-04T13:32:28Z</dcterms:created>
  <dcterms:modified xsi:type="dcterms:W3CDTF">2023-03-14T23:56:36Z</dcterms:modified>
</cp:coreProperties>
</file>